
<file path=[Content_Types].xml><?xml version="1.0" encoding="utf-8"?>
<Types xmlns="http://schemas.openxmlformats.org/package/2006/content-types"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Default Extension="xlsx" ContentType="application/vnd.openxmlformats-officedocument.spreadsheetml.sheet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9144000" cy="6858000" type="screen4x3"/>
  <p:notesSz cx="6858000" cy="9144000"/>
  <p:custDataLst>
    <p:tags r:id="rId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7" d="100"/>
          <a:sy n="67" d="100"/>
        </p:scale>
        <p:origin x="-648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de-DE"/>
  <c:chart>
    <c:plotArea>
      <c:layout>
        <c:manualLayout>
          <c:layoutTarget val="inner"/>
          <c:xMode val="edge"/>
          <c:yMode val="edge"/>
          <c:x val="2.5870646766169157E-2"/>
          <c:y val="2.731092436974791E-2"/>
          <c:w val="0.94825870646766153"/>
          <c:h val="0.94537815126050428"/>
        </c:manualLayout>
      </c:layout>
      <c:barChart>
        <c:barDir val="col"/>
        <c:grouping val="stacked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Val val="1"/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Val val="1"/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Val val="1"/>
            </c:dLbl>
            <c:delete val="1"/>
          </c:dLbls>
          <c:val>
            <c:numRef>
              <c:f>Sheet1!$A$1:$C$1</c:f>
              <c:numCache>
                <c:formatCode>General</c:formatCode>
                <c:ptCount val="3"/>
                <c:pt idx="0">
                  <c:v>12.9</c:v>
                </c:pt>
                <c:pt idx="1">
                  <c:v>21.8</c:v>
                </c:pt>
                <c:pt idx="2">
                  <c:v>35.1</c:v>
                </c:pt>
              </c:numCache>
            </c:numRef>
          </c:val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Val val="1"/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Val val="1"/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Val val="1"/>
            </c:dLbl>
            <c:delete val="1"/>
          </c:dLbls>
          <c:val>
            <c:numRef>
              <c:f>Sheet1!$A$2:$C$2</c:f>
              <c:numCache>
                <c:formatCode>General</c:formatCode>
                <c:ptCount val="3"/>
                <c:pt idx="0">
                  <c:v>5.0999999999999996</c:v>
                </c:pt>
                <c:pt idx="1">
                  <c:v>3.8999999999999981</c:v>
                </c:pt>
                <c:pt idx="2">
                  <c:v>7.2000000000000028</c:v>
                </c:pt>
              </c:numCache>
            </c:numRef>
          </c:val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Val val="1"/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Val val="1"/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Val val="1"/>
            </c:dLbl>
            <c:delete val="1"/>
          </c:dLbls>
          <c:val>
            <c:numRef>
              <c:f>Sheet1!$A$3:$C$3</c:f>
              <c:numCache>
                <c:formatCode>General</c:formatCode>
                <c:ptCount val="3"/>
                <c:pt idx="0">
                  <c:v>3.5</c:v>
                </c:pt>
                <c:pt idx="1">
                  <c:v>5.3000000000000007</c:v>
                </c:pt>
                <c:pt idx="2">
                  <c:v>4.1000000000000005</c:v>
                </c:pt>
              </c:numCache>
            </c:numRef>
          </c:val>
        </c:ser>
        <c:gapWidth val="80"/>
        <c:overlap val="100"/>
        <c:axId val="58541184"/>
        <c:axId val="58542720"/>
      </c:barChart>
      <c:catAx>
        <c:axId val="58541184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58542720"/>
        <c:crosses val="min"/>
        <c:lblAlgn val="ctr"/>
        <c:lblOffset val="100"/>
      </c:catAx>
      <c:valAx>
        <c:axId val="58542720"/>
        <c:scaling>
          <c:orientation val="minMax"/>
          <c:max val="46.400000000000006"/>
          <c:min val="0"/>
        </c:scaling>
        <c:delete val="1"/>
        <c:axPos val="l"/>
        <c:numFmt formatCode="General" sourceLinked="1"/>
        <c:tickLblPos val="none"/>
        <c:crossAx val="58541184"/>
        <c:crosses val="min"/>
        <c:crossBetween val="between"/>
      </c:valAx>
    </c:plotArea>
    <c:showDLblsOverMax val="1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de-DE"/>
  <c:chart>
    <c:plotArea>
      <c:layout>
        <c:manualLayout>
          <c:layoutTarget val="inner"/>
          <c:xMode val="edge"/>
          <c:yMode val="edge"/>
          <c:x val="2.5870646766169157E-2"/>
          <c:y val="2.731092436974791E-2"/>
          <c:w val="0.94825870646766153"/>
          <c:h val="0.94537815126050428"/>
        </c:manualLayout>
      </c:layout>
      <c:barChart>
        <c:barDir val="col"/>
        <c:grouping val="stacked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Val val="1"/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Val val="1"/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Val val="1"/>
            </c:dLbl>
            <c:delete val="1"/>
          </c:dLbls>
          <c:val>
            <c:numRef>
              <c:f>Sheet1!$A$1:$C$1</c:f>
              <c:numCache>
                <c:formatCode>General</c:formatCode>
                <c:ptCount val="3"/>
                <c:pt idx="0">
                  <c:v>12.9</c:v>
                </c:pt>
                <c:pt idx="1">
                  <c:v>21.8</c:v>
                </c:pt>
                <c:pt idx="2">
                  <c:v>35.1</c:v>
                </c:pt>
              </c:numCache>
            </c:numRef>
          </c:val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Val val="1"/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Val val="1"/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Val val="1"/>
            </c:dLbl>
            <c:delete val="1"/>
          </c:dLbls>
          <c:val>
            <c:numRef>
              <c:f>Sheet1!$A$2:$C$2</c:f>
              <c:numCache>
                <c:formatCode>General</c:formatCode>
                <c:ptCount val="3"/>
                <c:pt idx="0">
                  <c:v>5.0999999999999996</c:v>
                </c:pt>
                <c:pt idx="1">
                  <c:v>3.8999999999999981</c:v>
                </c:pt>
                <c:pt idx="2">
                  <c:v>7.2000000000000028</c:v>
                </c:pt>
              </c:numCache>
            </c:numRef>
          </c:val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Val val="1"/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Val val="1"/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Val val="1"/>
            </c:dLbl>
            <c:delete val="1"/>
          </c:dLbls>
          <c:val>
            <c:numRef>
              <c:f>Sheet1!$A$3:$C$3</c:f>
              <c:numCache>
                <c:formatCode>General</c:formatCode>
                <c:ptCount val="3"/>
                <c:pt idx="0">
                  <c:v>3.5</c:v>
                </c:pt>
                <c:pt idx="1">
                  <c:v>5.3000000000000007</c:v>
                </c:pt>
                <c:pt idx="2">
                  <c:v>4.1000000000000005</c:v>
                </c:pt>
              </c:numCache>
            </c:numRef>
          </c:val>
        </c:ser>
        <c:gapWidth val="80"/>
        <c:overlap val="100"/>
        <c:axId val="58967168"/>
        <c:axId val="58968704"/>
      </c:barChart>
      <c:catAx>
        <c:axId val="58967168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58968704"/>
        <c:crosses val="min"/>
        <c:lblAlgn val="ctr"/>
        <c:lblOffset val="100"/>
      </c:catAx>
      <c:valAx>
        <c:axId val="58968704"/>
        <c:scaling>
          <c:orientation val="minMax"/>
          <c:max val="46.400000000000006"/>
          <c:min val="0"/>
        </c:scaling>
        <c:delete val="1"/>
        <c:axPos val="l"/>
        <c:numFmt formatCode="General" sourceLinked="1"/>
        <c:tickLblPos val="none"/>
        <c:crossAx val="58967168"/>
        <c:crosses val="min"/>
        <c:crossBetween val="between"/>
      </c:valAx>
    </c:plotArea>
    <c:showDLblsOverMax val="1"/>
  </c:chart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28.07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28.07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28.07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28.07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28.07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28.07.2017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28.07.2017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28.07.2017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28.07.2017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28.07.2017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28.07.2017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9EF740-C21C-4079-A32A-93C42BE6C7F6}" type="datetimeFigureOut">
              <a:rPr lang="de-DE" smtClean="0"/>
              <a:t>28.07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chart" Target="../charts/chart2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chart" Target="../charts/chart1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oleObject" Target="../embeddings/oleObject1.bin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slideLayout" Target="../slideLayouts/slideLayout7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p:oleObj spid="_x0000_s1026" name="think-cell Slide" r:id="rId24" imgW="524" imgH="524" progId="TCLayout.ActiveDocument.1">
              <p:embed/>
            </p:oleObj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400">
              <a:latin typeface="Calibri"/>
              <a:sym typeface="Calibri"/>
            </a:endParaRPr>
          </a:p>
        </p:txBody>
      </p:sp>
      <p:graphicFrame>
        <p:nvGraphicFramePr>
          <p:cNvPr id="27" name="Chart 26"/>
          <p:cNvGraphicFramePr/>
          <p:nvPr>
            <p:custDataLst>
              <p:tags r:id="rId3"/>
            </p:custDataLst>
          </p:nvPr>
        </p:nvGraphicFramePr>
        <p:xfrm>
          <a:off x="1117600" y="1822450"/>
          <a:ext cx="3190875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4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516062" y="4821237"/>
            <a:ext cx="374650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DA19FD-A687-46B8-941E-73B4621C7708}" type="datetime'''''''''''''2''''''''''''''''''''''''''''''0''''''''''15'''">
              <a:rPr lang="de-DE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de-DE" sz="140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587500" y="3200400"/>
            <a:ext cx="231775" cy="212725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7E54BE-B40C-4AE9-A0CE-2D737933A879}" type="datetime'''''''22'''''''''''''''''''''''''''''''''">
              <a:rPr lang="de-DE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de-DE" sz="1400">
              <a:sym typeface="+mn-lt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525712" y="4821237"/>
            <a:ext cx="374650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03DC0D-78A3-418F-8980-5729F38AB09E}" type="datetime'''''''''''2''''''''''''''''''''016'">
              <a:rPr lang="de-DE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de-DE" sz="1400"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597150" y="2614612"/>
            <a:ext cx="231775" cy="212725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56E6B5-FBA1-4BE0-8012-C4FCDE511C3B}" type="datetime'''3''''''''''''''''''''1'''''''''''''''">
              <a:rPr lang="de-DE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lang="de-DE" sz="1400">
              <a:sym typeface="+mn-lt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19162" y="4259262"/>
            <a:ext cx="361950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7042EB6-29B6-4F09-AD10-654DC47CA82C}" type="datetime'S''''e''''''r''''''''''''''''''''i''''e'''''''''''''''''''">
              <a:rPr lang="de-DE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</a:t>
            </a:fld>
            <a:endParaRPr lang="de-DE" sz="1400"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533775" y="4821237"/>
            <a:ext cx="374650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E9FBEC-F1F0-48FF-B43F-5D444F56C5F3}" type="datetime'''''''''''''''''2''0''''''''''''''''''''''''''17'''''''''''''">
              <a:rPr lang="de-DE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de-DE" sz="1400"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19162" y="3440112"/>
            <a:ext cx="361950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4E4D5DF-F0AF-4CE3-813B-E4EAFAED90E9}" type="datetime'S''eri''''''''''''e'''''''''''''">
              <a:rPr lang="de-DE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</a:t>
            </a:fld>
            <a:endParaRPr lang="de-DE" sz="1400"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19162" y="3705225"/>
            <a:ext cx="361950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E49513A-3485-40E0-8D19-0A4447E2ABC4}" type="datetime'S''e''''''''''''''''''''''''''''ri''''''''''''''e'''''''">
              <a:rPr lang="de-DE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</a:t>
            </a:fld>
            <a:endParaRPr lang="de-DE" sz="1400">
              <a:sym typeface="+mn-lt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605212" y="1666875"/>
            <a:ext cx="231775" cy="212725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44D0D9-0584-40C4-B4BC-BFD8EE3BFF9E}" type="datetime'''''''''4''''''''''''''''''''6'''''''''''''''''''''">
              <a:rPr lang="de-DE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endParaRPr lang="de-DE" sz="1400">
              <a:sym typeface="+mn-lt"/>
            </a:endParaRPr>
          </a:p>
        </p:txBody>
      </p:sp>
      <p:graphicFrame>
        <p:nvGraphicFramePr>
          <p:cNvPr id="28" name="Chart 27"/>
          <p:cNvGraphicFramePr/>
          <p:nvPr>
            <p:custDataLst>
              <p:tags r:id="rId13"/>
            </p:custDataLst>
          </p:nvPr>
        </p:nvGraphicFramePr>
        <p:xfrm>
          <a:off x="5022850" y="1822450"/>
          <a:ext cx="3190875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17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21312" y="4821237"/>
            <a:ext cx="374650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378EC1-F691-4ED5-BE20-C719C06A1168}" type="datetime'20''''''''''''1''''''''''''''''''5'''''''''''''''''">
              <a:rPr lang="de-DE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de-DE" sz="1400">
              <a:sym typeface="+mn-lt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502400" y="2614612"/>
            <a:ext cx="231775" cy="212725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E0901C-349B-40B1-B410-BF18C8458B49}" type="datetime'''''''''''''3''1'''''''''">
              <a:rPr lang="de-DE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lang="de-DE" sz="1400">
              <a:sym typeface="+mn-lt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824412" y="3440112"/>
            <a:ext cx="361950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658258E-F941-4BAB-B4AE-728EB7656EDA}" type="datetime'''''''''''''S''''e''''''''''''''ri''e'">
              <a:rPr lang="de-DE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</a:t>
            </a:fld>
            <a:endParaRPr lang="de-DE" sz="1400">
              <a:sym typeface="+mn-lt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439025" y="4821237"/>
            <a:ext cx="374650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83A4FC-0300-4025-BA67-203C4EB5C218}" type="datetime'''''''''''''''''''2''''''''''''''''''''''''''0''1''''''''''7'">
              <a:rPr lang="de-DE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de-DE" sz="1400">
              <a:sym typeface="+mn-lt"/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430962" y="4821237"/>
            <a:ext cx="374650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36F1B5-1515-4843-8987-9F05E87D4D62}" type="datetime'''''2''''''''''''''''''''0''''''''''1''6'''''''''''''''">
              <a:rPr lang="de-DE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de-DE" sz="1400">
              <a:sym typeface="+mn-lt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824412" y="3705225"/>
            <a:ext cx="361950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6C7116F-1F92-485A-8BE3-2BFC4F2B135D}" type="datetime'''''''''S''''''''e''r''''''i''''''''''''''e'''''''''">
              <a:rPr lang="de-DE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</a:t>
            </a:fld>
            <a:endParaRPr lang="de-DE" sz="1400">
              <a:sym typeface="+mn-lt"/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824412" y="4259262"/>
            <a:ext cx="361950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B2D52D9-9749-447A-8EB6-DC7705F8900C}" type="datetime'''''''S''''''''''e''''''''''''''ri''''''''''''''''''e'">
              <a:rPr lang="de-DE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</a:t>
            </a:fld>
            <a:endParaRPr lang="de-DE" sz="1400">
              <a:sym typeface="+mn-lt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492750" y="3200400"/>
            <a:ext cx="231775" cy="212725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E92339-B8E5-4050-A10B-9930FB15E787}" type="datetime'''''''''2''''''''''''''''''''''2'''''''">
              <a:rPr lang="de-DE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de-DE" sz="1400">
              <a:sym typeface="+mn-lt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510462" y="1666875"/>
            <a:ext cx="231775" cy="212725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8F43D8-120A-4DE3-A53B-BE3FBD715C94}" type="datetime'''''4''''''''''''''''''''''6'''''''''''''''''''''''''''">
              <a:rPr lang="de-DE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endParaRPr lang="de-DE" sz="1400">
              <a:sym typeface="+mn-lt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70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qoYIU9QvWpP53bvxxS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wTg9n_TLaiJQwGVF18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pcT1xzQViqDiIanxZs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WGUfNSTQGm8jwM0fuE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4BVlHHT_OKs3OyyT0B2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Nxh6rlRrq3Sg7XeWCZ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39Nt9FQ4CSYT2P4o1Kz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eZNfkDSZm8KNFWY15FS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AwaJDsTECjOF0WTOCgG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25oUUNSROLVpjW3ltE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x_rfMRT2.1V24sepoiI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bG7zloQT235c.BYT_wH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5uyEijT9q7NZmoy.0P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Hk3beT3mVpEonf_Yg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QCkN1iQbGKo0IvIdas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u1t5cTSWeexSxy5AO2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AOeFiGSCW5B73nXoxL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F1E1VTRqybGHZWNGQL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yPHEv0Q6W83BCaDcYZ5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lUkpxgTLaXk1Ree54Q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PG.unaRdK1V5Mhi3K4J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6</Words>
  <Application>Microsoft Office PowerPoint</Application>
  <PresentationFormat>On-screen Show (4:3)</PresentationFormat>
  <Paragraphs>36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Office Theme</vt:lpstr>
      <vt:lpstr>think-cell Slide</vt:lpstr>
      <vt:lpstr>Slide 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rno Schödl</dc:creator>
  <cp:lastModifiedBy>Arno Schödl</cp:lastModifiedBy>
  <cp:revision>1</cp:revision>
  <dcterms:created xsi:type="dcterms:W3CDTF">2017-07-28T16:17:58Z</dcterms:created>
  <dcterms:modified xsi:type="dcterms:W3CDTF">2017-07-28T16:19:44Z</dcterms:modified>
</cp:coreProperties>
</file>